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-492" y="-84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21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21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3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6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8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3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2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Чернов Сергей Валерьевич</cp:lastModifiedBy>
  <cp:revision>376</cp:revision>
  <cp:lastPrinted>2017-07-13T06:45:40Z</cp:lastPrinted>
  <dcterms:created xsi:type="dcterms:W3CDTF">2015-04-14T10:20:06Z</dcterms:created>
  <dcterms:modified xsi:type="dcterms:W3CDTF">2017-07-21T09:52:58Z</dcterms:modified>
</cp:coreProperties>
</file>